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embedTrueType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82" r:id="rId5"/>
    <p:sldId id="10634" r:id="rId6"/>
    <p:sldId id="10618" r:id="rId7"/>
    <p:sldId id="569" r:id="rId8"/>
    <p:sldId id="10623" r:id="rId9"/>
    <p:sldId id="10619" r:id="rId10"/>
    <p:sldId id="10620" r:id="rId11"/>
    <p:sldId id="10636" r:id="rId12"/>
    <p:sldId id="10637" r:id="rId13"/>
    <p:sldId id="10635" r:id="rId14"/>
    <p:sldId id="1033" r:id="rId15"/>
  </p:sldIdLst>
  <p:sldSz cx="12192000" cy="6858000"/>
  <p:notesSz cx="6858000" cy="9144000"/>
  <p:embeddedFontLst>
    <p:embeddedFont>
      <p:font typeface="Vitesco" panose="020B0504020202020204" pitchFamily="34" charset="0"/>
      <p:regular r:id="rId18"/>
      <p:bold r:id="rId19"/>
    </p:embeddedFont>
  </p:embeddedFontLst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004B"/>
    <a:srgbClr val="F0E614"/>
    <a:srgbClr val="4B4B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13" autoAdjust="0"/>
    <p:restoredTop sz="94660"/>
  </p:normalViewPr>
  <p:slideViewPr>
    <p:cSldViewPr showGuides="1">
      <p:cViewPr varScale="1">
        <p:scale>
          <a:sx n="67" d="100"/>
          <a:sy n="67" d="100"/>
        </p:scale>
        <p:origin x="492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21" d="100"/>
          <a:sy n="121" d="100"/>
        </p:scale>
        <p:origin x="4938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953DE05-9645-4C60-ABAA-AB460706E0E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2913597-114B-4E37-8295-DC48B93FBC0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297E9-9D0C-49A2-9099-6FE1533DD973}" type="datetimeFigureOut">
              <a:rPr lang="de-DE" smtClean="0"/>
              <a:t>30.11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3CFE1BA-5EF9-404B-BF3E-676AB795C80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DCC681-D8C5-4099-B5EA-FF6FF51B598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47C22C-7DE9-4058-8D9A-7B013046228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75911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F1896E-BD61-409C-B9D0-149553111866}" type="datetimeFigureOut">
              <a:rPr lang="de-DE" smtClean="0"/>
              <a:t>30.11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471AF9-44BE-4981-A5DA-AAEA415771C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5967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309AC5E-331E-47C5-B74D-DBE8E9CD79C0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6618313" cy="6858000"/>
          </a:xfrm>
          <a:custGeom>
            <a:avLst/>
            <a:gdLst>
              <a:gd name="connsiteX0" fmla="*/ 4780205 w 6618313"/>
              <a:gd name="connsiteY0" fmla="*/ 0 h 6858000"/>
              <a:gd name="connsiteX1" fmla="*/ 6618313 w 6618313"/>
              <a:gd name="connsiteY1" fmla="*/ 0 h 6858000"/>
              <a:gd name="connsiteX2" fmla="*/ 4229619 w 6618313"/>
              <a:gd name="connsiteY2" fmla="*/ 6509169 h 6858000"/>
              <a:gd name="connsiteX3" fmla="*/ 4066561 w 6618313"/>
              <a:gd name="connsiteY3" fmla="*/ 6858000 h 6858000"/>
              <a:gd name="connsiteX4" fmla="*/ 308462 w 6618313"/>
              <a:gd name="connsiteY4" fmla="*/ 6858000 h 6858000"/>
              <a:gd name="connsiteX5" fmla="*/ 143992 w 6618313"/>
              <a:gd name="connsiteY5" fmla="*/ 6504932 h 6858000"/>
              <a:gd name="connsiteX6" fmla="*/ 32492 w 6618313"/>
              <a:gd name="connsiteY6" fmla="*/ 6199617 h 6858000"/>
              <a:gd name="connsiteX7" fmla="*/ 0 w 6618313"/>
              <a:gd name="connsiteY7" fmla="*/ 6110647 h 6858000"/>
              <a:gd name="connsiteX8" fmla="*/ 0 w 6618313"/>
              <a:gd name="connsiteY8" fmla="*/ 1076066 h 6858000"/>
              <a:gd name="connsiteX9" fmla="*/ 57021 w 6618313"/>
              <a:gd name="connsiteY9" fmla="*/ 1232363 h 6858000"/>
              <a:gd name="connsiteX10" fmla="*/ 1764690 w 6618313"/>
              <a:gd name="connsiteY10" fmla="*/ 5913189 h 6858000"/>
              <a:gd name="connsiteX11" fmla="*/ 2186806 w 6618313"/>
              <a:gd name="connsiteY11" fmla="*/ 6209061 h 6858000"/>
              <a:gd name="connsiteX12" fmla="*/ 2187511 w 6618313"/>
              <a:gd name="connsiteY12" fmla="*/ 6209061 h 6858000"/>
              <a:gd name="connsiteX13" fmla="*/ 2609627 w 6618313"/>
              <a:gd name="connsiteY13" fmla="*/ 5913895 h 6858000"/>
              <a:gd name="connsiteX14" fmla="*/ 4780205 w 6618313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18313" h="6858000">
                <a:moveTo>
                  <a:pt x="4780205" y="0"/>
                </a:moveTo>
                <a:lnTo>
                  <a:pt x="6618313" y="0"/>
                </a:lnTo>
                <a:cubicBezTo>
                  <a:pt x="6618313" y="0"/>
                  <a:pt x="6618313" y="0"/>
                  <a:pt x="4229619" y="6509169"/>
                </a:cubicBezTo>
                <a:cubicBezTo>
                  <a:pt x="4184443" y="6632036"/>
                  <a:pt x="4129384" y="6748549"/>
                  <a:pt x="4066561" y="6858000"/>
                </a:cubicBezTo>
                <a:cubicBezTo>
                  <a:pt x="4066561" y="6858000"/>
                  <a:pt x="4066561" y="6858000"/>
                  <a:pt x="308462" y="6858000"/>
                </a:cubicBezTo>
                <a:cubicBezTo>
                  <a:pt x="244227" y="6747137"/>
                  <a:pt x="189168" y="6629212"/>
                  <a:pt x="143992" y="6504932"/>
                </a:cubicBezTo>
                <a:cubicBezTo>
                  <a:pt x="143992" y="6504932"/>
                  <a:pt x="143992" y="6504932"/>
                  <a:pt x="32492" y="6199617"/>
                </a:cubicBezTo>
                <a:lnTo>
                  <a:pt x="0" y="6110647"/>
                </a:lnTo>
                <a:lnTo>
                  <a:pt x="0" y="1076066"/>
                </a:lnTo>
                <a:lnTo>
                  <a:pt x="57021" y="1232363"/>
                </a:lnTo>
                <a:cubicBezTo>
                  <a:pt x="344591" y="2020610"/>
                  <a:pt x="855827" y="3421939"/>
                  <a:pt x="1764690" y="5913189"/>
                </a:cubicBezTo>
                <a:cubicBezTo>
                  <a:pt x="1862101" y="6180109"/>
                  <a:pt x="2092218" y="6209061"/>
                  <a:pt x="2186806" y="6209061"/>
                </a:cubicBezTo>
                <a:cubicBezTo>
                  <a:pt x="2186806" y="6209061"/>
                  <a:pt x="2186806" y="6209061"/>
                  <a:pt x="2187511" y="6209061"/>
                </a:cubicBezTo>
                <a:cubicBezTo>
                  <a:pt x="2282099" y="6209061"/>
                  <a:pt x="2512216" y="6180109"/>
                  <a:pt x="2609627" y="5913895"/>
                </a:cubicBezTo>
                <a:cubicBezTo>
                  <a:pt x="2609627" y="5913895"/>
                  <a:pt x="2609627" y="5913895"/>
                  <a:pt x="478020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F10EEC-7180-40B0-99AD-49EBF1D702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847850" y="1600200"/>
            <a:ext cx="9972676" cy="1756792"/>
          </a:xfrm>
        </p:spPr>
        <p:txBody>
          <a:bodyPr anchor="b"/>
          <a:lstStyle>
            <a:lvl1pPr algn="l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sz="50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A366ED8-AB52-4EC1-B9BB-6625AECB295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847849" y="3465004"/>
            <a:ext cx="9972675" cy="792088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60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B05EF9-52FC-4156-ACA1-536839172E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1847849" y="4330339"/>
            <a:ext cx="9972675" cy="17989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1953F5-23B4-442B-BCAB-3CFACF9EB4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12835" y="341919"/>
            <a:ext cx="2107801" cy="743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7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027BD71-4399-4B10-B541-DEE01F2E59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4996FA93-2C04-4230-B649-753F9826C7B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071F8E7-6C99-42F7-A33B-A1164F465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1030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9BA8FB27-B372-40DA-B6AA-742C42B42170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6618313" cy="6858000"/>
          </a:xfrm>
          <a:custGeom>
            <a:avLst/>
            <a:gdLst>
              <a:gd name="connsiteX0" fmla="*/ 4780205 w 6618313"/>
              <a:gd name="connsiteY0" fmla="*/ 0 h 6858000"/>
              <a:gd name="connsiteX1" fmla="*/ 6618313 w 6618313"/>
              <a:gd name="connsiteY1" fmla="*/ 0 h 6858000"/>
              <a:gd name="connsiteX2" fmla="*/ 4229619 w 6618313"/>
              <a:gd name="connsiteY2" fmla="*/ 6509169 h 6858000"/>
              <a:gd name="connsiteX3" fmla="*/ 4066561 w 6618313"/>
              <a:gd name="connsiteY3" fmla="*/ 6858000 h 6858000"/>
              <a:gd name="connsiteX4" fmla="*/ 308462 w 6618313"/>
              <a:gd name="connsiteY4" fmla="*/ 6858000 h 6858000"/>
              <a:gd name="connsiteX5" fmla="*/ 143992 w 6618313"/>
              <a:gd name="connsiteY5" fmla="*/ 6504932 h 6858000"/>
              <a:gd name="connsiteX6" fmla="*/ 32492 w 6618313"/>
              <a:gd name="connsiteY6" fmla="*/ 6199617 h 6858000"/>
              <a:gd name="connsiteX7" fmla="*/ 0 w 6618313"/>
              <a:gd name="connsiteY7" fmla="*/ 6110647 h 6858000"/>
              <a:gd name="connsiteX8" fmla="*/ 0 w 6618313"/>
              <a:gd name="connsiteY8" fmla="*/ 1076066 h 6858000"/>
              <a:gd name="connsiteX9" fmla="*/ 57021 w 6618313"/>
              <a:gd name="connsiteY9" fmla="*/ 1232363 h 6858000"/>
              <a:gd name="connsiteX10" fmla="*/ 1764690 w 6618313"/>
              <a:gd name="connsiteY10" fmla="*/ 5913189 h 6858000"/>
              <a:gd name="connsiteX11" fmla="*/ 2186806 w 6618313"/>
              <a:gd name="connsiteY11" fmla="*/ 6209061 h 6858000"/>
              <a:gd name="connsiteX12" fmla="*/ 2187511 w 6618313"/>
              <a:gd name="connsiteY12" fmla="*/ 6209061 h 6858000"/>
              <a:gd name="connsiteX13" fmla="*/ 2609627 w 6618313"/>
              <a:gd name="connsiteY13" fmla="*/ 5913895 h 6858000"/>
              <a:gd name="connsiteX14" fmla="*/ 4780205 w 6618313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18313" h="6858000">
                <a:moveTo>
                  <a:pt x="4780205" y="0"/>
                </a:moveTo>
                <a:lnTo>
                  <a:pt x="6618313" y="0"/>
                </a:lnTo>
                <a:cubicBezTo>
                  <a:pt x="6618313" y="0"/>
                  <a:pt x="6618313" y="0"/>
                  <a:pt x="4229619" y="6509169"/>
                </a:cubicBezTo>
                <a:cubicBezTo>
                  <a:pt x="4184443" y="6632036"/>
                  <a:pt x="4129384" y="6748549"/>
                  <a:pt x="4066561" y="6858000"/>
                </a:cubicBezTo>
                <a:cubicBezTo>
                  <a:pt x="4066561" y="6858000"/>
                  <a:pt x="4066561" y="6858000"/>
                  <a:pt x="308462" y="6858000"/>
                </a:cubicBezTo>
                <a:cubicBezTo>
                  <a:pt x="244227" y="6747137"/>
                  <a:pt x="189168" y="6629212"/>
                  <a:pt x="143992" y="6504932"/>
                </a:cubicBezTo>
                <a:cubicBezTo>
                  <a:pt x="143992" y="6504932"/>
                  <a:pt x="143992" y="6504932"/>
                  <a:pt x="32492" y="6199617"/>
                </a:cubicBezTo>
                <a:lnTo>
                  <a:pt x="0" y="6110647"/>
                </a:lnTo>
                <a:lnTo>
                  <a:pt x="0" y="1076066"/>
                </a:lnTo>
                <a:lnTo>
                  <a:pt x="57021" y="1232363"/>
                </a:lnTo>
                <a:cubicBezTo>
                  <a:pt x="344591" y="2020610"/>
                  <a:pt x="855827" y="3421939"/>
                  <a:pt x="1764690" y="5913189"/>
                </a:cubicBezTo>
                <a:cubicBezTo>
                  <a:pt x="1862101" y="6180109"/>
                  <a:pt x="2092218" y="6209061"/>
                  <a:pt x="2186806" y="6209061"/>
                </a:cubicBezTo>
                <a:cubicBezTo>
                  <a:pt x="2186806" y="6209061"/>
                  <a:pt x="2186806" y="6209061"/>
                  <a:pt x="2187511" y="6209061"/>
                </a:cubicBezTo>
                <a:cubicBezTo>
                  <a:pt x="2282099" y="6209061"/>
                  <a:pt x="2512216" y="6180109"/>
                  <a:pt x="2609627" y="5913895"/>
                </a:cubicBezTo>
                <a:cubicBezTo>
                  <a:pt x="2609627" y="5913895"/>
                  <a:pt x="2609627" y="5913895"/>
                  <a:pt x="478020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1953F5-23B4-442B-BCAB-3CFACF9EB4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12835" y="341919"/>
            <a:ext cx="2107801" cy="74385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BF10EEC-7180-40B0-99AD-49EBF1D702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847849" y="2672916"/>
            <a:ext cx="9972676" cy="1756792"/>
          </a:xfrm>
        </p:spPr>
        <p:txBody>
          <a:bodyPr anchor="ctr"/>
          <a:lstStyle>
            <a:lvl1pPr algn="l">
              <a:lnSpc>
                <a:spcPts val="5000"/>
              </a:lnSpc>
              <a:defRPr sz="58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038164-F6D3-4587-A969-E96281877C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7596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lead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93228"/>
            <a:ext cx="11449050" cy="983544"/>
          </a:xfrm>
        </p:spPr>
        <p:txBody>
          <a:bodyPr/>
          <a:lstStyle>
            <a:lvl1pPr>
              <a:lnSpc>
                <a:spcPts val="3800"/>
              </a:lnSpc>
              <a:defRPr sz="3800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71474" y="1420396"/>
            <a:ext cx="11449051" cy="676456"/>
          </a:xfrm>
        </p:spPr>
        <p:txBody>
          <a:bodyPr/>
          <a:lstStyle>
            <a:lvl1pPr marL="0" indent="0">
              <a:buNone/>
              <a:defRPr sz="1900" cap="all" spc="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4996FA93-2C04-4230-B649-753F9826C7BB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AF49845-489A-4610-8F7A-332E15A822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77824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17AF036-266E-40BE-B0E0-C9289E59DA3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4996FA93-2C04-4230-B649-753F9826C7B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7C1C86E-090F-4145-8295-6AC6218E61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42812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L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6" y="1592263"/>
            <a:ext cx="5545138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C8604F5-DBA2-40D0-9476-4D86666A5A24}"/>
              </a:ext>
            </a:extLst>
          </p:cNvPr>
          <p:cNvSpPr>
            <a:spLocks noGrp="1"/>
          </p:cNvSpPr>
          <p:nvPr>
            <p:ph idx="16"/>
          </p:nvPr>
        </p:nvSpPr>
        <p:spPr bwMode="gray">
          <a:xfrm>
            <a:off x="6275387" y="1592263"/>
            <a:ext cx="5545137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4996FA93-2C04-4230-B649-753F9826C7B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3D5C47-19C8-4937-851E-9849C4C289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3592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L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6" y="1592263"/>
            <a:ext cx="3563937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C8604F5-DBA2-40D0-9476-4D86666A5A24}"/>
              </a:ext>
            </a:extLst>
          </p:cNvPr>
          <p:cNvSpPr>
            <a:spLocks noGrp="1"/>
          </p:cNvSpPr>
          <p:nvPr>
            <p:ph idx="16"/>
          </p:nvPr>
        </p:nvSpPr>
        <p:spPr bwMode="gray">
          <a:xfrm>
            <a:off x="4295775" y="1592263"/>
            <a:ext cx="360045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4996FA93-2C04-4230-B649-753F9826C7B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3D5C47-19C8-4937-851E-9849C4C289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83DD1BA8-04B4-476C-AAC7-0F9177B68237}"/>
              </a:ext>
            </a:extLst>
          </p:cNvPr>
          <p:cNvSpPr>
            <a:spLocks noGrp="1"/>
          </p:cNvSpPr>
          <p:nvPr>
            <p:ph idx="19"/>
          </p:nvPr>
        </p:nvSpPr>
        <p:spPr bwMode="gray">
          <a:xfrm>
            <a:off x="8256588" y="1592263"/>
            <a:ext cx="3563936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5127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L and pictur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5" y="1592263"/>
            <a:ext cx="5545139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4996FA93-2C04-4230-B649-753F9826C7B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405CAC59-96CE-478C-9C75-954091EA13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275385" y="1592263"/>
            <a:ext cx="5545139" cy="4285009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7018D7-73ED-44D4-933F-1BEAB1720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75388" y="5910894"/>
            <a:ext cx="5545136" cy="21844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F1885B7-2E03-47DD-BD4B-63B7ACC2CC3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6585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L and pictur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364" y="1592263"/>
            <a:ext cx="2592499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4996FA93-2C04-4230-B649-753F9826C7B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405CAC59-96CE-478C-9C75-954091EA13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324225" y="1592263"/>
            <a:ext cx="8496300" cy="4285009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7018D7-73ED-44D4-933F-1BEAB1720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24225" y="5910894"/>
            <a:ext cx="8496300" cy="21844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A71FD0-D6A4-4724-A464-B27A01326CB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2088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00BC5B3-F2A0-4A8D-9639-D8303B9B51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6858000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4996FA93-2C04-4230-B649-753F9826C7B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4282ECD-EAC2-4687-ADA4-43F3F14316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04623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4996FA93-2C04-4230-B649-753F9826C7B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9D1E11-1F27-43E9-A619-3800CF71FD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81616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681E3B1-3F06-4C6D-9D46-43D85FF8F8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4072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3" name="think-cell Slide" r:id="rId15" imgW="384" imgH="384" progId="TCLayout.ActiveDocument.1">
                  <p:embed/>
                </p:oleObj>
              </mc:Choice>
              <mc:Fallback>
                <p:oleObj name="think-cell Slide" r:id="rId1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1F3E609-30E1-42A9-8D5E-E61AA83FAD6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55602"/>
            <a:ext cx="11449050" cy="3651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592263"/>
            <a:ext cx="11449050" cy="4537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8CC8C263-9E2F-40C3-8867-CB4A537C7B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71364" y="6570873"/>
            <a:ext cx="360040" cy="185105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 spc="30" baseline="0">
                <a:solidFill>
                  <a:schemeClr val="tx1"/>
                </a:solidFill>
              </a:defRPr>
            </a:lvl1pPr>
          </a:lstStyle>
          <a:p>
            <a:fld id="{4996FA93-2C04-4230-B649-753F9826C7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1D678A09-755E-4ADC-AA02-C61252B670E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094217" y="6420146"/>
            <a:ext cx="726419" cy="256357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1A783CE7-0EF9-4D14-8316-C8DF4EE33AA6}"/>
              </a:ext>
            </a:extLst>
          </p:cNvPr>
          <p:cNvSpPr/>
          <p:nvPr/>
        </p:nvSpPr>
        <p:spPr bwMode="gray">
          <a:xfrm>
            <a:off x="0" y="0"/>
            <a:ext cx="13811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CB3DE9A-7BF9-4BA5-BE98-B2F461168D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7849" y="6570875"/>
            <a:ext cx="8496301" cy="18510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45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50" r:id="rId3"/>
    <p:sldLayoutId id="2147483656" r:id="rId4"/>
    <p:sldLayoutId id="2147483662" r:id="rId5"/>
    <p:sldLayoutId id="2147483659" r:id="rId6"/>
    <p:sldLayoutId id="2147483660" r:id="rId7"/>
    <p:sldLayoutId id="2147483657" r:id="rId8"/>
    <p:sldLayoutId id="2147483654" r:id="rId9"/>
    <p:sldLayoutId id="2147483655" r:id="rId10"/>
    <p:sldLayoutId id="2147483658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7" userDrawn="1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pos="3727" userDrawn="1">
          <p15:clr>
            <a:srgbClr val="F26B43"/>
          </p15:clr>
        </p15:guide>
        <p15:guide id="5" pos="3953" userDrawn="1">
          <p15:clr>
            <a:srgbClr val="F26B43"/>
          </p15:clr>
        </p15:guide>
        <p15:guide id="6" pos="3024" userDrawn="1">
          <p15:clr>
            <a:srgbClr val="F26B43"/>
          </p15:clr>
        </p15:guide>
        <p15:guide id="7" pos="2797" userDrawn="1">
          <p15:clr>
            <a:srgbClr val="F26B43"/>
          </p15:clr>
        </p15:guide>
        <p15:guide id="8" pos="4656" userDrawn="1">
          <p15:clr>
            <a:srgbClr val="F26B43"/>
          </p15:clr>
        </p15:guide>
        <p15:guide id="9" pos="4883" userDrawn="1">
          <p15:clr>
            <a:srgbClr val="F26B43"/>
          </p15:clr>
        </p15:guide>
        <p15:guide id="10" pos="5586" userDrawn="1">
          <p15:clr>
            <a:srgbClr val="F26B43"/>
          </p15:clr>
        </p15:guide>
        <p15:guide id="11" pos="5813" userDrawn="1">
          <p15:clr>
            <a:srgbClr val="F26B43"/>
          </p15:clr>
        </p15:guide>
        <p15:guide id="12" pos="1867" userDrawn="1">
          <p15:clr>
            <a:srgbClr val="F26B43"/>
          </p15:clr>
        </p15:guide>
        <p15:guide id="13" pos="2094" userDrawn="1">
          <p15:clr>
            <a:srgbClr val="F26B43"/>
          </p15:clr>
        </p15:guide>
        <p15:guide id="14" pos="1164" userDrawn="1">
          <p15:clr>
            <a:srgbClr val="F26B43"/>
          </p15:clr>
        </p15:guide>
        <p15:guide id="15" pos="937" userDrawn="1">
          <p15:clr>
            <a:srgbClr val="F26B43"/>
          </p15:clr>
        </p15:guide>
        <p15:guide id="16" pos="6516" userDrawn="1">
          <p15:clr>
            <a:srgbClr val="F26B43"/>
          </p15:clr>
        </p15:guide>
        <p15:guide id="17" pos="6743" userDrawn="1">
          <p15:clr>
            <a:srgbClr val="F26B43"/>
          </p15:clr>
        </p15:guide>
        <p15:guide id="18" orient="horz" pos="1003" userDrawn="1">
          <p15:clr>
            <a:srgbClr val="F26B43"/>
          </p15:clr>
        </p15:guide>
        <p15:guide id="19" orient="horz" pos="3861" userDrawn="1">
          <p15:clr>
            <a:srgbClr val="F26B43"/>
          </p15:clr>
        </p15:guide>
        <p15:guide id="20" pos="3840" userDrawn="1">
          <p15:clr>
            <a:srgbClr val="F26B43"/>
          </p15:clr>
        </p15:guide>
        <p15:guide id="21" orient="horz" pos="2432" userDrawn="1">
          <p15:clr>
            <a:srgbClr val="F26B43"/>
          </p15:clr>
        </p15:guide>
        <p15:guide id="22" pos="2479" userDrawn="1">
          <p15:clr>
            <a:srgbClr val="F26B43"/>
          </p15:clr>
        </p15:guide>
        <p15:guide id="23" pos="2706" userDrawn="1">
          <p15:clr>
            <a:srgbClr val="F26B43"/>
          </p15:clr>
        </p15:guide>
        <p15:guide id="24" pos="5201" userDrawn="1">
          <p15:clr>
            <a:srgbClr val="F26B43"/>
          </p15:clr>
        </p15:guide>
        <p15:guide id="25" pos="49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confluence.vitesco.io/display/projectEPD/Build+Units" TargetMode="Externa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2615DE-5866-41F5-ABAA-BC45075186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8304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599DB74-EF14-4FA7-92DA-DC2A5E59C2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altLang="zh-CN" dirty="0"/>
              <a:t>Vitesco Boot Concept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BCEDD4D-2A85-430B-AFB7-A839D5F9F54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Go Through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5DBF705-166C-4926-AFB9-2AB2DF919C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11.30.2021</a:t>
            </a:r>
          </a:p>
          <a:p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22851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98E14A-D723-44A1-BC7B-55AE709FE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R3 boot concep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DAB98-22FF-4B27-8226-3CC062B715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ifecycle examp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8625E2-9AA6-4566-9D27-A79D64C68C4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996FA93-2C04-4230-B649-753F9826C7B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ACE589-F411-4142-B369-528C145B920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9685AA-DE1E-4D91-9942-CEE5CE090A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1139778"/>
            <a:ext cx="10439400" cy="586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4513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F87847-177B-4C5A-BD80-2FA9932FD7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23165033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CE01E1B7-DFAA-4F69-8D37-07763EDE34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384032" y="1026676"/>
            <a:ext cx="3580730" cy="453707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30054F-0BBC-46D9-8ABD-F74FEB6788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epa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334FCCD-C86A-47E9-8583-FF90F25068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otload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7347A8-E706-4A5B-8AE8-1C3198CB479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996FA93-2C04-4230-B649-753F9826C7B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CB4995-E6A9-4EF0-9CE0-0E49DB18F24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100FD6-97FA-428F-817E-ED75F133856B}"/>
              </a:ext>
            </a:extLst>
          </p:cNvPr>
          <p:cNvSpPr/>
          <p:nvPr/>
        </p:nvSpPr>
        <p:spPr>
          <a:xfrm>
            <a:off x="549772" y="137163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&gt;This is used to reprogram ECUs App software</a:t>
            </a:r>
            <a:endParaRPr lang="en-US" altLang="zh-CN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39EBCA3-E4F1-49C4-A565-2232C31E7170}"/>
              </a:ext>
            </a:extLst>
          </p:cNvPr>
          <p:cNvSpPr/>
          <p:nvPr/>
        </p:nvSpPr>
        <p:spPr>
          <a:xfrm>
            <a:off x="6374879" y="573372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&gt;General program flow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8700190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05F5367-4ED2-45F0-9BEC-1A500CA0E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281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9AAC819-E90F-4D35-BA4C-8DD52CB635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session is intentionally to introduce </a:t>
            </a:r>
            <a:r>
              <a:rPr lang="en-US" b="1" dirty="0">
                <a:highlight>
                  <a:srgbClr val="FFFF00"/>
                </a:highlight>
              </a:rPr>
              <a:t>boot concept </a:t>
            </a:r>
            <a:r>
              <a:rPr lang="en-US" dirty="0"/>
              <a:t>of HGIF (for both ECU14 and ECU17) </a:t>
            </a:r>
            <a:r>
              <a:rPr lang="en-US" altLang="zh-CN" dirty="0"/>
              <a:t>in a higher level.</a:t>
            </a:r>
          </a:p>
          <a:p>
            <a:r>
              <a:rPr lang="en-US" dirty="0"/>
              <a:t>Detail can be found in attached official training material.</a:t>
            </a:r>
          </a:p>
          <a:p>
            <a:endParaRPr lang="en-US" dirty="0"/>
          </a:p>
          <a:p>
            <a:r>
              <a:rPr lang="en-US" dirty="0"/>
              <a:t>It will cover</a:t>
            </a:r>
          </a:p>
          <a:p>
            <a:pPr lvl="1"/>
            <a:r>
              <a:rPr lang="en-US" dirty="0"/>
              <a:t>Different units such as boot manager, boot loader,  end user application,  and how to jump between</a:t>
            </a:r>
          </a:p>
          <a:p>
            <a:pPr lvl="1"/>
            <a:r>
              <a:rPr lang="en-US" dirty="0"/>
              <a:t>Common use cases</a:t>
            </a:r>
          </a:p>
          <a:p>
            <a:endParaRPr lang="en-US" dirty="0"/>
          </a:p>
          <a:p>
            <a:r>
              <a:rPr lang="en-US" dirty="0"/>
              <a:t>It will not cover</a:t>
            </a:r>
          </a:p>
          <a:p>
            <a:pPr lvl="1"/>
            <a:r>
              <a:rPr lang="en-US" dirty="0"/>
              <a:t>Reprogramming (for example, command, sequency,  check, flash driver, …)</a:t>
            </a:r>
          </a:p>
          <a:p>
            <a:pPr lvl="1"/>
            <a:r>
              <a:rPr lang="en-US" dirty="0" err="1"/>
              <a:t>Uds</a:t>
            </a:r>
            <a:r>
              <a:rPr lang="en-US" dirty="0"/>
              <a:t> service </a:t>
            </a:r>
          </a:p>
          <a:p>
            <a:endParaRPr lang="en-US" sz="1000" i="1" dirty="0"/>
          </a:p>
          <a:p>
            <a:r>
              <a:rPr lang="en-US" sz="1000" i="1" dirty="0"/>
              <a:t>Note: </a:t>
            </a:r>
          </a:p>
          <a:p>
            <a:pPr lvl="1"/>
            <a:r>
              <a:rPr lang="en-US" sz="1000" i="1" dirty="0"/>
              <a:t>EMS3: 3</a:t>
            </a:r>
            <a:r>
              <a:rPr lang="en-US" sz="1000" i="1" baseline="30000" dirty="0"/>
              <a:t>rd</a:t>
            </a:r>
            <a:r>
              <a:rPr lang="en-US" sz="1000" i="1" dirty="0"/>
              <a:t> 32bit ECU which includes</a:t>
            </a:r>
          </a:p>
          <a:p>
            <a:pPr lvl="2"/>
            <a:r>
              <a:rPr lang="en-US" sz="1000" i="1" dirty="0" err="1"/>
              <a:t>AutoSAR</a:t>
            </a:r>
            <a:r>
              <a:rPr lang="en-US" sz="1000" i="1" dirty="0"/>
              <a:t> Architecture (</a:t>
            </a:r>
            <a:r>
              <a:rPr lang="en-US" sz="1000" i="1" dirty="0" err="1"/>
              <a:t>PowerSAR</a:t>
            </a:r>
            <a:r>
              <a:rPr lang="en-US" sz="1000" i="1" dirty="0"/>
              <a:t>),</a:t>
            </a:r>
          </a:p>
          <a:p>
            <a:pPr lvl="2"/>
            <a:r>
              <a:rPr lang="en-US" sz="1000" i="1" dirty="0" err="1"/>
              <a:t>MultiCore</a:t>
            </a:r>
            <a:endParaRPr lang="en-US" sz="1000" i="1" dirty="0"/>
          </a:p>
          <a:p>
            <a:pPr lvl="2"/>
            <a:r>
              <a:rPr lang="en-US" sz="1000" i="1" dirty="0">
                <a:highlight>
                  <a:srgbClr val="FFFF00"/>
                </a:highlight>
              </a:rPr>
              <a:t>New Boot Concept</a:t>
            </a:r>
          </a:p>
          <a:p>
            <a:pPr lvl="2"/>
            <a:r>
              <a:rPr lang="en-US" sz="1000" i="1" dirty="0"/>
              <a:t>Basic SW (GIF, HGIF): </a:t>
            </a:r>
          </a:p>
          <a:p>
            <a:pPr lvl="2"/>
            <a:r>
              <a:rPr lang="en-US" sz="1000" i="1" dirty="0"/>
              <a:t>Chip Set (ECU14, ECU17, …)</a:t>
            </a:r>
          </a:p>
          <a:p>
            <a:pPr lvl="3"/>
            <a:r>
              <a:rPr lang="en-US" sz="1000" i="1" dirty="0"/>
              <a:t>ECU 14:  </a:t>
            </a:r>
            <a:r>
              <a:rPr lang="en-US" sz="1000" i="1" dirty="0" err="1"/>
              <a:t>Aurix</a:t>
            </a:r>
            <a:r>
              <a:rPr lang="en-US" sz="1000" i="1" dirty="0"/>
              <a:t>  (TC2xx), ATIC1XX,</a:t>
            </a:r>
          </a:p>
          <a:p>
            <a:pPr lvl="3"/>
            <a:r>
              <a:rPr lang="en-US" sz="1000" i="1" dirty="0"/>
              <a:t>ECU 17: </a:t>
            </a:r>
            <a:r>
              <a:rPr lang="en-US" sz="1000" i="1" dirty="0" err="1"/>
              <a:t>Aurix</a:t>
            </a:r>
            <a:r>
              <a:rPr lang="en-US" sz="1000" i="1" dirty="0"/>
              <a:t> 2G (TC3xx), ATIC2XX,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70C8E36-9C32-427E-9B01-D3A6BCCFD8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ill and Will Not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303DA0B-769E-4679-BDAC-2CDD27E44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efa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FF8229-8329-4584-A898-B369ABB8F6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996FA93-2C04-4230-B649-753F9826C7BB}" type="slidenum">
              <a:rPr lang="de-DE" noProof="0" smtClean="0"/>
              <a:pPr/>
              <a:t>3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9390304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BD8BF73-CCA6-47A4-8B24-8F1AAAC93A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unTime</a:t>
            </a:r>
            <a:r>
              <a:rPr lang="de-DE" dirty="0"/>
              <a:t> Units</a:t>
            </a:r>
            <a:endParaRPr lang="en-US" dirty="0"/>
          </a:p>
        </p:txBody>
      </p:sp>
      <p:sp>
        <p:nvSpPr>
          <p:cNvPr id="8" name="Rectangle 25"/>
          <p:cNvSpPr>
            <a:spLocks noChangeArrowheads="1"/>
          </p:cNvSpPr>
          <p:nvPr/>
        </p:nvSpPr>
        <p:spPr bwMode="gray">
          <a:xfrm>
            <a:off x="551384" y="2204864"/>
            <a:ext cx="5251898" cy="1872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108000" tIns="108000" rIns="108000" bIns="108000" rtlCol="0" anchor="t" anchorCtr="0">
            <a:no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  <a:buSzPct val="125000"/>
            </a:pPr>
            <a:r>
              <a:rPr lang="en-US" sz="1400" dirty="0">
                <a:cs typeface="Arial" pitchFamily="34" charset="0"/>
              </a:rPr>
              <a:t>Smallest autonomous executable entity </a:t>
            </a:r>
            <a:br>
              <a:rPr lang="en-US" sz="1400" dirty="0">
                <a:cs typeface="Arial" pitchFamily="34" charset="0"/>
              </a:rPr>
            </a:br>
            <a:r>
              <a:rPr lang="en-US" sz="1400" dirty="0">
                <a:cs typeface="Arial" pitchFamily="34" charset="0"/>
              </a:rPr>
              <a:t>(e.g. Boot Manager, End-User Application)</a:t>
            </a: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&gt;"/>
            </a:pPr>
            <a:r>
              <a:rPr lang="en-US" sz="1400" dirty="0">
                <a:cs typeface="Arial" pitchFamily="34" charset="0"/>
              </a:rPr>
              <a:t>made of one or more parts</a:t>
            </a: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&gt;"/>
            </a:pPr>
            <a:r>
              <a:rPr lang="en-US" sz="1400" dirty="0">
                <a:cs typeface="Arial" pitchFamily="34" charset="0"/>
              </a:rPr>
              <a:t>made of one or more sub units</a:t>
            </a: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&gt;"/>
            </a:pPr>
            <a:r>
              <a:rPr lang="en-US" sz="1400" dirty="0">
                <a:cs typeface="Arial" pitchFamily="34" charset="0"/>
              </a:rPr>
              <a:t>made of one or more programming units</a:t>
            </a:r>
          </a:p>
        </p:txBody>
      </p:sp>
      <p:sp>
        <p:nvSpPr>
          <p:cNvPr id="9" name="Inhaltsplatzhalter 1"/>
          <p:cNvSpPr txBox="1">
            <a:spLocks/>
          </p:cNvSpPr>
          <p:nvPr/>
        </p:nvSpPr>
        <p:spPr bwMode="gray">
          <a:xfrm>
            <a:off x="551210" y="1844863"/>
            <a:ext cx="5251898" cy="360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 err="1">
                <a:solidFill>
                  <a:schemeClr val="bg1"/>
                </a:solidFill>
              </a:rPr>
              <a:t>RunTime</a:t>
            </a:r>
            <a:r>
              <a:rPr lang="en-US" b="1" dirty="0">
                <a:solidFill>
                  <a:schemeClr val="bg1"/>
                </a:solidFill>
              </a:rPr>
              <a:t> Unit</a:t>
            </a:r>
          </a:p>
        </p:txBody>
      </p:sp>
      <p:sp>
        <p:nvSpPr>
          <p:cNvPr id="10" name="Rectangle 25"/>
          <p:cNvSpPr>
            <a:spLocks noChangeArrowheads="1"/>
          </p:cNvSpPr>
          <p:nvPr/>
        </p:nvSpPr>
        <p:spPr bwMode="gray">
          <a:xfrm>
            <a:off x="5879976" y="2204864"/>
            <a:ext cx="5251898" cy="1872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108000" tIns="108000" rIns="108000" bIns="108000" rtlCol="0" anchor="t" anchorCtr="0">
            <a:no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  <a:buSzPct val="125000"/>
            </a:pPr>
            <a:r>
              <a:rPr lang="en-US" sz="1400" dirty="0">
                <a:cs typeface="Arial" pitchFamily="34" charset="0"/>
              </a:rPr>
              <a:t>Smallest buildable entity (e.g. RC0, 0A0)</a:t>
            </a: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&gt;"/>
            </a:pPr>
            <a:r>
              <a:rPr lang="en-US" sz="1400" dirty="0">
                <a:cs typeface="Arial" pitchFamily="34" charset="0"/>
              </a:rPr>
              <a:t>produces exactly one </a:t>
            </a:r>
            <a:r>
              <a:rPr lang="en-US" sz="1400" dirty="0" err="1">
                <a:cs typeface="Arial" pitchFamily="34" charset="0"/>
              </a:rPr>
              <a:t>RunTime</a:t>
            </a:r>
            <a:r>
              <a:rPr lang="en-US" sz="1400" dirty="0">
                <a:cs typeface="Arial" pitchFamily="34" charset="0"/>
              </a:rPr>
              <a:t> Unit part</a:t>
            </a: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Inhaltsplatzhalter 1"/>
          <p:cNvSpPr txBox="1">
            <a:spLocks/>
          </p:cNvSpPr>
          <p:nvPr/>
        </p:nvSpPr>
        <p:spPr bwMode="gray">
          <a:xfrm>
            <a:off x="5879976" y="1851776"/>
            <a:ext cx="5251898" cy="360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bg1"/>
                </a:solidFill>
              </a:rPr>
              <a:t>Build Unit</a:t>
            </a:r>
          </a:p>
        </p:txBody>
      </p:sp>
      <p:sp>
        <p:nvSpPr>
          <p:cNvPr id="12" name="Rectangle 25"/>
          <p:cNvSpPr>
            <a:spLocks noChangeArrowheads="1"/>
          </p:cNvSpPr>
          <p:nvPr/>
        </p:nvSpPr>
        <p:spPr bwMode="gray">
          <a:xfrm>
            <a:off x="551210" y="4515409"/>
            <a:ext cx="5252072" cy="1872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108000" tIns="108000" rIns="108000" bIns="108000" rtlCol="0" anchor="t" anchorCtr="0">
            <a:no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  <a:buSzPct val="125000"/>
            </a:pPr>
            <a:r>
              <a:rPr lang="en-US" sz="1400" dirty="0">
                <a:cs typeface="Arial" pitchFamily="34" charset="0"/>
              </a:rPr>
              <a:t>Logical subdivision of a </a:t>
            </a:r>
            <a:r>
              <a:rPr lang="en-US" sz="1400" dirty="0" err="1">
                <a:cs typeface="Arial" pitchFamily="34" charset="0"/>
              </a:rPr>
              <a:t>RunTime</a:t>
            </a:r>
            <a:r>
              <a:rPr lang="en-US" sz="1400" dirty="0">
                <a:cs typeface="Arial" pitchFamily="34" charset="0"/>
              </a:rPr>
              <a:t> Unit </a:t>
            </a:r>
            <a:br>
              <a:rPr lang="en-US" sz="1400" dirty="0">
                <a:cs typeface="Arial" pitchFamily="34" charset="0"/>
              </a:rPr>
            </a:br>
            <a:r>
              <a:rPr lang="en-US" sz="1400" dirty="0">
                <a:cs typeface="Arial" pitchFamily="34" charset="0"/>
              </a:rPr>
              <a:t>(e.g. Applicative Software, Dataset, </a:t>
            </a:r>
            <a:r>
              <a:rPr lang="en-US" sz="1400" dirty="0" err="1">
                <a:cs typeface="Arial" pitchFamily="34" charset="0"/>
              </a:rPr>
              <a:t>Postbuild</a:t>
            </a:r>
            <a:r>
              <a:rPr lang="en-US" sz="1400" dirty="0">
                <a:cs typeface="Arial" pitchFamily="34" charset="0"/>
              </a:rPr>
              <a:t> block and Mapping Block are 4 sub units of the End-User Application)</a:t>
            </a: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&gt;"/>
            </a:pPr>
            <a:r>
              <a:rPr lang="en-US" sz="1400" dirty="0">
                <a:cs typeface="Arial" pitchFamily="34" charset="0"/>
              </a:rPr>
              <a:t>made of one or more programming units</a:t>
            </a:r>
          </a:p>
        </p:txBody>
      </p:sp>
      <p:sp>
        <p:nvSpPr>
          <p:cNvPr id="13" name="Inhaltsplatzhalter 1"/>
          <p:cNvSpPr txBox="1">
            <a:spLocks/>
          </p:cNvSpPr>
          <p:nvPr/>
        </p:nvSpPr>
        <p:spPr bwMode="gray">
          <a:xfrm>
            <a:off x="551036" y="4148325"/>
            <a:ext cx="5252072" cy="367083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bg1"/>
                </a:solidFill>
              </a:rPr>
              <a:t>Sub Unit</a:t>
            </a:r>
          </a:p>
        </p:txBody>
      </p:sp>
      <p:sp>
        <p:nvSpPr>
          <p:cNvPr id="15" name="Inhaltsplatzhalter 1"/>
          <p:cNvSpPr txBox="1">
            <a:spLocks/>
          </p:cNvSpPr>
          <p:nvPr/>
        </p:nvSpPr>
        <p:spPr bwMode="gray">
          <a:xfrm>
            <a:off x="5879976" y="4155408"/>
            <a:ext cx="5251898" cy="360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75000"/>
                  </a:schemeClr>
                </a:solidFill>
              </a:rPr>
              <a:t>Programming Unit</a:t>
            </a:r>
          </a:p>
        </p:txBody>
      </p:sp>
      <p:sp>
        <p:nvSpPr>
          <p:cNvPr id="16" name="Rectangle 25"/>
          <p:cNvSpPr>
            <a:spLocks noChangeArrowheads="1"/>
          </p:cNvSpPr>
          <p:nvPr/>
        </p:nvSpPr>
        <p:spPr bwMode="gray">
          <a:xfrm>
            <a:off x="5879976" y="4515408"/>
            <a:ext cx="5251898" cy="18720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108000" tIns="108000" rIns="108000" bIns="108000" rtlCol="0" anchor="t" anchorCtr="0">
            <a:no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  <a:buSzPct val="125000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cs typeface="Arial" pitchFamily="34" charset="0"/>
              </a:rPr>
              <a:t>Smallest programmable entity (also referred as slot for multi-part application)</a:t>
            </a: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&gt;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cs typeface="Arial" pitchFamily="34" charset="0"/>
              </a:rPr>
              <a:t>always shipped with prolog and epilog</a:t>
            </a: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&gt;"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cs typeface="Arial" pitchFamily="34" charset="0"/>
              </a:rPr>
              <a:t>always aligned on one or more sector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AD15059-52D1-49BA-A2F6-C1DD571DAB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de-DE"/>
              <a:t>Internal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BAC27C-3C1A-473A-B525-3AC7063A0C3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996FA93-2C04-4230-B649-753F9826C7B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F51AA6F0-6A57-45E3-B7EE-A78065004E1D}"/>
              </a:ext>
            </a:extLst>
          </p:cNvPr>
          <p:cNvSpPr txBox="1">
            <a:spLocks/>
          </p:cNvSpPr>
          <p:nvPr/>
        </p:nvSpPr>
        <p:spPr bwMode="gray">
          <a:xfrm>
            <a:off x="371365" y="1160114"/>
            <a:ext cx="11449160" cy="2804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600" kern="1200" cap="all" spc="8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2"/>
              </a:rPr>
              <a:t>Confluence Link:</a:t>
            </a:r>
          </a:p>
          <a:p>
            <a:r>
              <a:rPr lang="en-US" dirty="0">
                <a:hlinkClick r:id="rId2"/>
              </a:rPr>
              <a:t>Build Units - EMR3 PSA SW - Vitesco Technologies Conflu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2373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82E80E-EBCB-4052-8322-7B88B9F15F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9052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0DB556-A191-4202-91D7-7F32C1E1F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unTime Unit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6B837C-66C9-4400-8FBF-4D76929BF8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72298B-F690-4F16-ADDD-84EB8EA7FA6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996FA93-2C04-4230-B649-753F9826C7BB}" type="slidenum">
              <a:rPr lang="de-DE" smtClean="0"/>
              <a:pPr/>
              <a:t>5</a:t>
            </a:fld>
            <a:endParaRPr lang="de-DE" dirty="0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A0FE227-E91A-4D9D-B7B1-CCE44A1116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3242579"/>
              </p:ext>
            </p:extLst>
          </p:nvPr>
        </p:nvGraphicFramePr>
        <p:xfrm>
          <a:off x="371473" y="1093069"/>
          <a:ext cx="11449052" cy="51917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862263">
                  <a:extLst>
                    <a:ext uri="{9D8B030D-6E8A-4147-A177-3AD203B41FA5}">
                      <a16:colId xmlns:a16="http://schemas.microsoft.com/office/drawing/2014/main" val="2632349377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2062500813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425852446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2066672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RunTime</a:t>
                      </a:r>
                      <a:r>
                        <a:rPr lang="en-US" dirty="0"/>
                        <a:t> Un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uild Un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ub Un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mm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4772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M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33969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LM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LIF</a:t>
                      </a:r>
                      <a:r>
                        <a:rPr lang="zh-CN" altLang="en-US" dirty="0"/>
                        <a:t>， </a:t>
                      </a:r>
                      <a:r>
                        <a:rPr lang="en-US" dirty="0"/>
                        <a:t>Part of 0M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43942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L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5880432"/>
                  </a:ext>
                </a:extLst>
              </a:tr>
              <a:tr h="370840">
                <a:tc rowSpan="4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C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-On, </a:t>
                      </a:r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Customer</a:t>
                      </a:r>
                      <a:r>
                        <a:rPr lang="en-US" dirty="0"/>
                        <a:t>, IL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028715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C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-On, </a:t>
                      </a:r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Customer</a:t>
                      </a:r>
                      <a:r>
                        <a:rPr lang="en-US" dirty="0"/>
                        <a:t>, IL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597489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C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Add-On, </a:t>
                      </a:r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Customer</a:t>
                      </a:r>
                      <a:r>
                        <a:rPr lang="en-US" dirty="0"/>
                        <a:t>, IL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729299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WS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Add-On, </a:t>
                      </a:r>
                      <a:r>
                        <a:rPr lang="en-US" dirty="0">
                          <a:highlight>
                            <a:srgbClr val="D7004B"/>
                          </a:highlight>
                        </a:rPr>
                        <a:t>Supplier</a:t>
                      </a:r>
                      <a:r>
                        <a:rPr lang="en-US" dirty="0"/>
                        <a:t>, IL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6376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U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4169996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A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 SW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183097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D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S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75395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HA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ed in HGIF1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90115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HM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ed in HGIF1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83432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L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BOOT, Added in HGIF1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28736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9852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DA4492-206D-466B-BC16-3C9A1C541D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678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C98DC8-5CDB-478F-AD0E-23B310E811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ootloader Related too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F01347-445F-40F7-B229-5FFA3604D5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W &amp; S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13A690-3FC0-4ACC-B94C-45E8C1FB9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996FA93-2C04-4230-B649-753F9826C7BB}" type="slidenum">
              <a:rPr lang="de-DE" smtClean="0"/>
              <a:pPr/>
              <a:t>6</a:t>
            </a:fld>
            <a:endParaRPr lang="de-DE" dirty="0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16967AAB-1936-4002-AA63-DA46BDB810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7897714"/>
              </p:ext>
            </p:extLst>
          </p:nvPr>
        </p:nvGraphicFramePr>
        <p:xfrm>
          <a:off x="371254" y="1700808"/>
          <a:ext cx="11449161" cy="212344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972218">
                  <a:extLst>
                    <a:ext uri="{9D8B030D-6E8A-4147-A177-3AD203B41FA5}">
                      <a16:colId xmlns:a16="http://schemas.microsoft.com/office/drawing/2014/main" val="1077134088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84033697"/>
                    </a:ext>
                  </a:extLst>
                </a:gridCol>
                <a:gridCol w="1800128">
                  <a:extLst>
                    <a:ext uri="{9D8B030D-6E8A-4147-A177-3AD203B41FA5}">
                      <a16:colId xmlns:a16="http://schemas.microsoft.com/office/drawing/2014/main" val="3134234030"/>
                    </a:ext>
                  </a:extLst>
                </a:gridCol>
                <a:gridCol w="3096374">
                  <a:extLst>
                    <a:ext uri="{9D8B030D-6E8A-4147-A177-3AD203B41FA5}">
                      <a16:colId xmlns:a16="http://schemas.microsoft.com/office/drawing/2014/main" val="2140119049"/>
                    </a:ext>
                  </a:extLst>
                </a:gridCol>
                <a:gridCol w="4428313">
                  <a:extLst>
                    <a:ext uri="{9D8B030D-6E8A-4147-A177-3AD203B41FA5}">
                      <a16:colId xmlns:a16="http://schemas.microsoft.com/office/drawing/2014/main" val="22883328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dd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Protoco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HW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PC SW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97149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RC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UD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ECTOR H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EV Flash Tool or </a:t>
                      </a:r>
                      <a:r>
                        <a:rPr lang="en-US" dirty="0">
                          <a:highlight>
                            <a:srgbClr val="D7004B"/>
                          </a:highlight>
                        </a:rPr>
                        <a:t>CAN Too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ustomer HW/SW tool suppor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6443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C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XC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TAS H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CA/</a:t>
                      </a:r>
                      <a:r>
                        <a:rPr lang="en-US" dirty="0" err="1"/>
                        <a:t>ProF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ly used in development ph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3956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WS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CXS </a:t>
                      </a:r>
                      <a:r>
                        <a:rPr lang="zh-CN" altLang="en-US" dirty="0"/>
                        <a:t>（</a:t>
                      </a:r>
                      <a:r>
                        <a:rPr lang="en-US" altLang="zh-CN" dirty="0"/>
                        <a:t>new</a:t>
                      </a:r>
                      <a:r>
                        <a:rPr lang="zh-CN" altLang="en-US" dirty="0"/>
                        <a:t>），</a:t>
                      </a:r>
                      <a:r>
                        <a:rPr lang="en-US" altLang="zh-CN" dirty="0"/>
                        <a:t>PHS </a:t>
                      </a:r>
                      <a:r>
                        <a:rPr lang="zh-CN" altLang="en-US" dirty="0"/>
                        <a:t>（</a:t>
                      </a:r>
                      <a:r>
                        <a:rPr lang="en-US" altLang="zh-CN" dirty="0"/>
                        <a:t>old</a:t>
                      </a:r>
                      <a:r>
                        <a:rPr lang="zh-CN" altLang="en-US" dirty="0"/>
                        <a:t>）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CoReDo</a:t>
                      </a:r>
                      <a:r>
                        <a:rPr lang="en-US" dirty="0"/>
                        <a:t> </a:t>
                      </a:r>
                      <a:r>
                        <a:rPr lang="zh-CN" altLang="en-US" dirty="0"/>
                        <a:t>（</a:t>
                      </a:r>
                      <a:r>
                        <a:rPr lang="en-US" altLang="zh-CN" dirty="0"/>
                        <a:t>from SSP7</a:t>
                      </a:r>
                      <a:r>
                        <a:rPr lang="zh-CN" altLang="en-US" dirty="0"/>
                        <a:t>）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sed by VT’s WRC to dump, reflas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46553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BO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??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CoPr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CU Test Suite (Green SW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rom BU T and now integrated to EMS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4345717"/>
                  </a:ext>
                </a:extLst>
              </a:tr>
            </a:tbl>
          </a:graphicData>
        </a:graphic>
      </p:graphicFrame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3CC525C6-C4EB-4155-A7EA-6C019EAF0F81}"/>
              </a:ext>
            </a:extLst>
          </p:cNvPr>
          <p:cNvSpPr txBox="1">
            <a:spLocks/>
          </p:cNvSpPr>
          <p:nvPr/>
        </p:nvSpPr>
        <p:spPr>
          <a:xfrm>
            <a:off x="371475" y="3861048"/>
            <a:ext cx="11449050" cy="2268290"/>
          </a:xfrm>
          <a:prstGeom prst="rect">
            <a:avLst/>
          </a:prstGeom>
        </p:spPr>
        <p:txBody>
          <a:bodyPr/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Standalone SBOOT</a:t>
            </a:r>
          </a:p>
          <a:p>
            <a:pPr lvl="1"/>
            <a:r>
              <a:rPr lang="en-US" dirty="0"/>
              <a:t>EMR3 is using this solution</a:t>
            </a:r>
          </a:p>
          <a:p>
            <a:pPr lvl="1"/>
            <a:r>
              <a:rPr lang="en-US" dirty="0" err="1"/>
              <a:t>Sboot</a:t>
            </a:r>
            <a:r>
              <a:rPr lang="en-US" dirty="0"/>
              <a:t> +  TSW,  totally independent to EMS3 Boot concept</a:t>
            </a:r>
          </a:p>
          <a:p>
            <a:endParaRPr lang="en-US" dirty="0"/>
          </a:p>
          <a:p>
            <a:r>
              <a:rPr lang="en-US" b="1" dirty="0" err="1"/>
              <a:t>PowerSAR</a:t>
            </a:r>
            <a:r>
              <a:rPr lang="en-US" b="1" dirty="0"/>
              <a:t> SBOOT (1L0)</a:t>
            </a:r>
          </a:p>
          <a:p>
            <a:pPr lvl="1"/>
            <a:r>
              <a:rPr lang="en-US" dirty="0"/>
              <a:t>A12:  ongoing, will connect to </a:t>
            </a:r>
            <a:r>
              <a:rPr lang="en-US" dirty="0" err="1"/>
              <a:t>Cypro</a:t>
            </a:r>
            <a:r>
              <a:rPr lang="en-US" dirty="0"/>
              <a:t> Server</a:t>
            </a:r>
          </a:p>
          <a:p>
            <a:pPr lvl="1"/>
            <a:r>
              <a:rPr lang="en-US" dirty="0"/>
              <a:t>GWM: not planned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9774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6FE8DBA-7269-4D74-ADC3-EC2BE37B15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19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17D37C-37A6-4C15-B069-ACB823B285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MR3: Boot flo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B37914-ECA3-4556-BF49-362D279229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flo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7A8C3D-55C9-44E0-9B2C-9733C1098F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996FA93-2C04-4230-B649-753F9826C7BB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9678C57-0E25-442B-8487-43E49ED652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27648" y="910082"/>
            <a:ext cx="6600825" cy="559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3847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122F22-7C9D-469C-9075-733712677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mergency Entry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256A50-393A-4A4E-B0D5-93DCADC44D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4C0A9C-3A76-4E0D-BBB1-FD68AAE2CAD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996FA93-2C04-4230-B649-753F9826C7B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21D28E-5C21-463E-BFD5-6891287644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3FD4AB8D-6A31-47FF-B7BC-F063B3BE4C90}"/>
              </a:ext>
            </a:extLst>
          </p:cNvPr>
          <p:cNvSpPr txBox="1">
            <a:spLocks/>
          </p:cNvSpPr>
          <p:nvPr/>
        </p:nvSpPr>
        <p:spPr>
          <a:xfrm>
            <a:off x="371475" y="1592263"/>
            <a:ext cx="11449050" cy="4910135"/>
          </a:xfrm>
          <a:prstGeom prst="rect">
            <a:avLst/>
          </a:prstGeom>
        </p:spPr>
        <p:txBody>
          <a:bodyPr/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fr-FR"/>
              <a:t>What is the Emergency Entry function?</a:t>
            </a:r>
          </a:p>
          <a:p>
            <a:pPr lvl="1">
              <a:lnSpc>
                <a:spcPct val="150000"/>
              </a:lnSpc>
            </a:pPr>
            <a:r>
              <a:rPr lang="fr-FR"/>
              <a:t>One Way to enter to the Supplier Reprogramming Session mode</a:t>
            </a:r>
          </a:p>
          <a:p>
            <a:pPr lvl="2">
              <a:lnSpc>
                <a:spcPct val="150000"/>
              </a:lnSpc>
            </a:pPr>
            <a:r>
              <a:rPr lang="fr-FR"/>
              <a:t>Required for Extended Supplier diagnostics (e.g warranty return -&gt; WS0)</a:t>
            </a:r>
          </a:p>
          <a:p>
            <a:pPr lvl="2">
              <a:lnSpc>
                <a:spcPct val="150000"/>
              </a:lnSpc>
            </a:pPr>
            <a:r>
              <a:rPr lang="fr-FR"/>
              <a:t>Typically required to update the Boot Loader</a:t>
            </a:r>
          </a:p>
          <a:p>
            <a:pPr lvl="1">
              <a:lnSpc>
                <a:spcPct val="150000"/>
              </a:lnSpc>
            </a:pPr>
            <a:r>
              <a:rPr lang="fr-FR"/>
              <a:t>Can be applied also in case of damaged Boot Updater, if Boot Loader plus EC0 addon still present in the ECU</a:t>
            </a:r>
          </a:p>
          <a:p>
            <a:pPr>
              <a:lnSpc>
                <a:spcPct val="150000"/>
              </a:lnSpc>
            </a:pPr>
            <a:r>
              <a:rPr lang="fr-FR"/>
              <a:t>Emergency Entry does not compromise Security</a:t>
            </a:r>
          </a:p>
          <a:p>
            <a:pPr>
              <a:lnSpc>
                <a:spcPct val="150000"/>
              </a:lnSpc>
            </a:pPr>
            <a:r>
              <a:rPr lang="fr-FR"/>
              <a:t>Emergency Entry is NOT related to Safety</a:t>
            </a:r>
          </a:p>
          <a:p>
            <a:pPr>
              <a:lnSpc>
                <a:spcPct val="150000"/>
              </a:lnSpc>
            </a:pPr>
            <a:r>
              <a:rPr lang="fr-FR"/>
              <a:t>Boot Manager is offering two different ways of using EEntry:</a:t>
            </a:r>
          </a:p>
          <a:p>
            <a:pPr lvl="1">
              <a:lnSpc>
                <a:spcPct val="150000"/>
              </a:lnSpc>
            </a:pPr>
            <a:r>
              <a:rPr lang="fr-FR"/>
              <a:t>Pin detection based,</a:t>
            </a:r>
          </a:p>
          <a:p>
            <a:pPr lvl="1">
              <a:lnSpc>
                <a:spcPct val="150000"/>
              </a:lnSpc>
            </a:pPr>
            <a:r>
              <a:rPr lang="fr-FR"/>
              <a:t>Communication message based (only CAN is supported)</a:t>
            </a:r>
            <a:endParaRPr lang="en-GB"/>
          </a:p>
          <a:p>
            <a:endParaRPr lang="fr-FR"/>
          </a:p>
          <a:p>
            <a:endParaRPr lang="fr-FR"/>
          </a:p>
          <a:p>
            <a:endParaRPr lang="fr-FR"/>
          </a:p>
          <a:p>
            <a:endParaRPr lang="fr-FR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63209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F1E04-40E1-4524-9D6B-43C58274A6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mergency Entry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FBC29-6FB9-41E6-AE91-16732F89AE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MS3 Boot Flow complete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9A4340-C88F-42AB-86D3-1ABB47E5F8D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996FA93-2C04-4230-B649-753F9826C7B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B24441-D2EC-45E3-97E1-CE6EEB353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Public / Internal / Confidential / Third-Party Confidential (select "Insert &gt; Header &amp; Footer")</a:t>
            </a:r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82D394F-FA42-4BB1-90AB-C0B24FD63F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5680" y="1007067"/>
            <a:ext cx="6768752" cy="4945458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7F1AC378-CD90-45E3-8625-5EE546378265}"/>
              </a:ext>
            </a:extLst>
          </p:cNvPr>
          <p:cNvGrpSpPr/>
          <p:nvPr/>
        </p:nvGrpSpPr>
        <p:grpSpPr>
          <a:xfrm>
            <a:off x="1985852" y="2486534"/>
            <a:ext cx="2949611" cy="3465991"/>
            <a:chOff x="-33795" y="2483289"/>
            <a:chExt cx="2949611" cy="3465991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48D29D2-A5C9-415B-A017-9574685DF4F8}"/>
                </a:ext>
              </a:extLst>
            </p:cNvPr>
            <p:cNvSpPr/>
            <p:nvPr/>
          </p:nvSpPr>
          <p:spPr>
            <a:xfrm>
              <a:off x="899592" y="3861048"/>
              <a:ext cx="2016224" cy="2088232"/>
            </a:xfrm>
            <a:prstGeom prst="roundRect">
              <a:avLst/>
            </a:prstGeom>
            <a:solidFill>
              <a:schemeClr val="bg1">
                <a:lumMod val="85000"/>
                <a:alpha val="52000"/>
              </a:schemeClr>
            </a:solidFill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18181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CE78DCA-835A-4397-9399-A9C18112F3F7}"/>
                </a:ext>
              </a:extLst>
            </p:cNvPr>
            <p:cNvSpPr txBox="1"/>
            <p:nvPr/>
          </p:nvSpPr>
          <p:spPr>
            <a:xfrm>
              <a:off x="-33795" y="2483289"/>
              <a:ext cx="2160240" cy="738664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txBody>
            <a:bodyPr vert="horz" wrap="square" rtlCol="0">
              <a:spAutoFit/>
            </a:bodyPr>
            <a:lstStyle/>
            <a:p>
              <a:r>
                <a:rPr lang="fr-FR" sz="1400" dirty="0" err="1">
                  <a:latin typeface="+mj-lt"/>
                </a:rPr>
                <a:t>EEntry</a:t>
              </a:r>
              <a:r>
                <a:rPr lang="fr-FR" sz="1400" dirty="0">
                  <a:latin typeface="+mj-lt"/>
                </a:rPr>
                <a:t> validation </a:t>
              </a:r>
              <a:r>
                <a:rPr lang="fr-FR" sz="1400" dirty="0" err="1">
                  <a:latin typeface="+mj-lt"/>
                </a:rPr>
                <a:t>is</a:t>
              </a:r>
              <a:endParaRPr lang="fr-FR" sz="1400" dirty="0">
                <a:latin typeface="+mj-lt"/>
              </a:endParaRPr>
            </a:p>
            <a:p>
              <a:r>
                <a:rPr lang="fr-FR" sz="1400" dirty="0" err="1">
                  <a:latin typeface="+mj-lt"/>
                </a:rPr>
                <a:t>mandatory</a:t>
              </a:r>
              <a:r>
                <a:rPr lang="fr-FR" sz="1400" dirty="0">
                  <a:latin typeface="+mj-lt"/>
                </a:rPr>
                <a:t> to </a:t>
              </a:r>
              <a:r>
                <a:rPr lang="fr-FR" sz="1400" dirty="0" err="1">
                  <a:latin typeface="+mj-lt"/>
                </a:rPr>
                <a:t>reach</a:t>
              </a:r>
              <a:endParaRPr lang="fr-FR" sz="1400" dirty="0">
                <a:latin typeface="+mj-lt"/>
              </a:endParaRPr>
            </a:p>
            <a:p>
              <a:r>
                <a:rPr lang="fr-FR" sz="1400" dirty="0" err="1">
                  <a:latin typeface="+mj-lt"/>
                </a:rPr>
                <a:t>this</a:t>
              </a:r>
              <a:r>
                <a:rPr lang="fr-FR" sz="1400" dirty="0">
                  <a:latin typeface="+mj-lt"/>
                </a:rPr>
                <a:t> state (EC0 or 1L0)</a:t>
              </a:r>
              <a:endParaRPr lang="en-GB" sz="1400" dirty="0">
                <a:latin typeface="+mj-lt"/>
              </a:endParaRPr>
            </a:p>
          </p:txBody>
        </p:sp>
        <p:cxnSp>
          <p:nvCxnSpPr>
            <p:cNvPr id="11" name="Connector: Curved 10">
              <a:extLst>
                <a:ext uri="{FF2B5EF4-FFF2-40B4-BE49-F238E27FC236}">
                  <a16:creationId xmlns:a16="http://schemas.microsoft.com/office/drawing/2014/main" id="{ACBA251C-A4FB-4786-85AE-AD01D37D5B75}"/>
                </a:ext>
              </a:extLst>
            </p:cNvPr>
            <p:cNvCxnSpPr>
              <a:cxnSpLocks/>
              <a:stCxn id="10" idx="3"/>
              <a:endCxn id="9" idx="1"/>
            </p:cNvCxnSpPr>
            <p:nvPr/>
          </p:nvCxnSpPr>
          <p:spPr>
            <a:xfrm flipH="1">
              <a:off x="899592" y="2852621"/>
              <a:ext cx="1226853" cy="2052543"/>
            </a:xfrm>
            <a:prstGeom prst="curvedConnector5">
              <a:avLst>
                <a:gd name="adj1" fmla="val -18633"/>
                <a:gd name="adj2" fmla="val 33562"/>
                <a:gd name="adj3" fmla="val 118633"/>
              </a:avLst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16226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tesco_PowerPoint_2019-09-06">
  <a:themeElements>
    <a:clrScheme name="_Vitesco neu">
      <a:dk1>
        <a:srgbClr val="4A4944"/>
      </a:dk1>
      <a:lt1>
        <a:sysClr val="window" lastClr="FFFFFF"/>
      </a:lt1>
      <a:dk2>
        <a:srgbClr val="4A4944"/>
      </a:dk2>
      <a:lt2>
        <a:srgbClr val="F2E500"/>
      </a:lt2>
      <a:accent1>
        <a:srgbClr val="D4004A"/>
      </a:accent1>
      <a:accent2>
        <a:srgbClr val="B4C832"/>
      </a:accent2>
      <a:accent3>
        <a:srgbClr val="64AF5A"/>
      </a:accent3>
      <a:accent4>
        <a:srgbClr val="3CB4A5"/>
      </a:accent4>
      <a:accent5>
        <a:srgbClr val="008269"/>
      </a:accent5>
      <a:accent6>
        <a:srgbClr val="005546"/>
      </a:accent6>
      <a:hlink>
        <a:srgbClr val="4A4944"/>
      </a:hlink>
      <a:folHlink>
        <a:srgbClr val="4A4944"/>
      </a:folHlink>
    </a:clrScheme>
    <a:fontScheme name="Benutzerdefiniert 153">
      <a:majorFont>
        <a:latin typeface="Vitesco"/>
        <a:ea typeface=""/>
        <a:cs typeface=""/>
      </a:majorFont>
      <a:minorFont>
        <a:latin typeface="Vitesc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Tertiär1">
      <a:srgbClr val="00A5E6"/>
    </a:custClr>
    <a:custClr name="Tertiär2">
      <a:srgbClr val="006EAA"/>
    </a:custClr>
    <a:custClr name="Tertiär3">
      <a:srgbClr val="005082"/>
    </a:custClr>
    <a:custClr name="Tertiär4">
      <a:srgbClr val="DC5F96"/>
    </a:custClr>
    <a:custClr name="Tertiär5">
      <a:srgbClr val="7D0F5F"/>
    </a:custClr>
    <a:custClr name="Brand Grey 100%">
      <a:srgbClr val="4A4944"/>
    </a:custClr>
    <a:custClr name="Brand Grey 70%">
      <a:srgbClr val="807F7C"/>
    </a:custClr>
    <a:custClr name="Brand Grey 50%">
      <a:srgbClr val="A4A4A1"/>
    </a:custClr>
    <a:custClr name="Brand Grey 30%">
      <a:srgbClr val="C8C8C6"/>
    </a:custClr>
    <a:custClr name="Brand Grey 15%">
      <a:srgbClr val="E4E4E3"/>
    </a:custClr>
    <a:custClr name="Ampelfarbe1">
      <a:srgbClr val="DC230F"/>
    </a:custClr>
    <a:custClr name="Ampelfarbe2">
      <a:srgbClr val="FFC300"/>
    </a:custClr>
    <a:custClr name="Ampelfarbe3">
      <a:srgbClr val="64AF59"/>
    </a:custClr>
  </a:custClrLst>
  <a:extLst>
    <a:ext uri="{05A4C25C-085E-4340-85A3-A5531E510DB2}">
      <thm15:themeFamily xmlns:thm15="http://schemas.microsoft.com/office/thememl/2012/main" name="190916_vitesco_ppt_en.potx" id="{063DB058-3ED7-4AEE-B930-0C29B42D3708}" vid="{7C8CEC18-41B0-4240-8D90-9FCE5A663301}"/>
    </a:ext>
  </a:extLst>
</a:theme>
</file>

<file path=ppt/theme/theme2.xml><?xml version="1.0" encoding="utf-8"?>
<a:theme xmlns:a="http://schemas.openxmlformats.org/drawingml/2006/main" name="Office">
  <a:themeElements>
    <a:clrScheme name="_Vitesco neu">
      <a:dk1>
        <a:srgbClr val="4A4944"/>
      </a:dk1>
      <a:lt1>
        <a:sysClr val="window" lastClr="FFFFFF"/>
      </a:lt1>
      <a:dk2>
        <a:srgbClr val="4A4944"/>
      </a:dk2>
      <a:lt2>
        <a:srgbClr val="F2E500"/>
      </a:lt2>
      <a:accent1>
        <a:srgbClr val="D4004A"/>
      </a:accent1>
      <a:accent2>
        <a:srgbClr val="B4C832"/>
      </a:accent2>
      <a:accent3>
        <a:srgbClr val="64AF5A"/>
      </a:accent3>
      <a:accent4>
        <a:srgbClr val="3CB4A5"/>
      </a:accent4>
      <a:accent5>
        <a:srgbClr val="008269"/>
      </a:accent5>
      <a:accent6>
        <a:srgbClr val="005546"/>
      </a:accent6>
      <a:hlink>
        <a:srgbClr val="4A4944"/>
      </a:hlink>
      <a:folHlink>
        <a:srgbClr val="4A4944"/>
      </a:folHlink>
    </a:clrScheme>
    <a:fontScheme name="Benutzerdefiniert 153">
      <a:majorFont>
        <a:latin typeface="Vitesco"/>
        <a:ea typeface=""/>
        <a:cs typeface=""/>
      </a:majorFont>
      <a:minorFont>
        <a:latin typeface="Vitesc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_Vitesco neu">
      <a:dk1>
        <a:srgbClr val="4A4944"/>
      </a:dk1>
      <a:lt1>
        <a:sysClr val="window" lastClr="FFFFFF"/>
      </a:lt1>
      <a:dk2>
        <a:srgbClr val="4A4944"/>
      </a:dk2>
      <a:lt2>
        <a:srgbClr val="F2E500"/>
      </a:lt2>
      <a:accent1>
        <a:srgbClr val="D4004A"/>
      </a:accent1>
      <a:accent2>
        <a:srgbClr val="B4C832"/>
      </a:accent2>
      <a:accent3>
        <a:srgbClr val="64AF5A"/>
      </a:accent3>
      <a:accent4>
        <a:srgbClr val="3CB4A5"/>
      </a:accent4>
      <a:accent5>
        <a:srgbClr val="008269"/>
      </a:accent5>
      <a:accent6>
        <a:srgbClr val="005546"/>
      </a:accent6>
      <a:hlink>
        <a:srgbClr val="4A4944"/>
      </a:hlink>
      <a:folHlink>
        <a:srgbClr val="4A4944"/>
      </a:folHlink>
    </a:clrScheme>
    <a:fontScheme name="Benutzerdefiniert 153">
      <a:majorFont>
        <a:latin typeface="Vitesco"/>
        <a:ea typeface=""/>
        <a:cs typeface=""/>
      </a:majorFont>
      <a:minorFont>
        <a:latin typeface="Vitesc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FC2088E68327428D6134C78DB52F8B" ma:contentTypeVersion="4" ma:contentTypeDescription="Create a new document." ma:contentTypeScope="" ma:versionID="3e69e2bc0b845aebd8297eb14a916cbd">
  <xsd:schema xmlns:xsd="http://www.w3.org/2001/XMLSchema" xmlns:xs="http://www.w3.org/2001/XMLSchema" xmlns:p="http://schemas.microsoft.com/office/2006/metadata/properties" xmlns:ns2="6dc404bd-8065-4c95-90c7-b704bf46c7f0" targetNamespace="http://schemas.microsoft.com/office/2006/metadata/properties" ma:root="true" ma:fieldsID="540ac1e163ced44a096a86a3cf4ca162" ns2:_="">
    <xsd:import namespace="6dc404bd-8065-4c95-90c7-b704bf46c7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404bd-8065-4c95-90c7-b704bf46c7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EE7C359-EA47-4092-BFD2-3BB79D050059}"/>
</file>

<file path=customXml/itemProps2.xml><?xml version="1.0" encoding="utf-8"?>
<ds:datastoreItem xmlns:ds="http://schemas.openxmlformats.org/officeDocument/2006/customXml" ds:itemID="{B4804D31-9234-40D4-942C-0C7F05962C3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0A68CCD-D848-414E-A8C8-A9A3840FD790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86</Words>
  <Application>Microsoft Office PowerPoint</Application>
  <PresentationFormat>Widescreen</PresentationFormat>
  <Paragraphs>150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Vitesco</vt:lpstr>
      <vt:lpstr>Arial</vt:lpstr>
      <vt:lpstr>vitesco_PowerPoint_2019-09-06</vt:lpstr>
      <vt:lpstr>think-cell Slide</vt:lpstr>
      <vt:lpstr>Vitesco Boot Concept</vt:lpstr>
      <vt:lpstr>bootloader</vt:lpstr>
      <vt:lpstr>Preface</vt:lpstr>
      <vt:lpstr>RunTime Units</vt:lpstr>
      <vt:lpstr>RunTime Units</vt:lpstr>
      <vt:lpstr>Bootloader Related tool</vt:lpstr>
      <vt:lpstr>EMR3: Boot flow</vt:lpstr>
      <vt:lpstr>Emergency Entry</vt:lpstr>
      <vt:lpstr>Emergency Entry</vt:lpstr>
      <vt:lpstr>EMR3 boot concept</vt:lpstr>
      <vt:lpstr>Any questions?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9-16T07:14:51Z</dcterms:created>
  <dcterms:modified xsi:type="dcterms:W3CDTF">2021-11-30T01:4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FFC2088E68327428D6134C78DB52F8B</vt:lpwstr>
  </property>
</Properties>
</file>